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410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56" d="100"/>
          <a:sy n="56" d="100"/>
        </p:scale>
        <p:origin x="10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C9F2CF8-F5D9-0425-0648-5E681E571F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5581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9F2CF8-F5D9-0425-0648-5E681E571F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AE7E925-F581-3ADA-88B2-C4418C220E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3519"/>
          <a:stretch/>
        </p:blipFill>
        <p:spPr>
          <a:xfrm>
            <a:off x="795" y="0"/>
            <a:ext cx="12190413" cy="76554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833B29-EF27-31C2-BCC1-6CC931A3A9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12191204" cy="765544"/>
          </a:xfrm>
        </p:spPr>
        <p:txBody>
          <a:bodyPr vert="horz" lIns="252000" tIns="0" rIns="0" bIns="0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0887307"/>
      </p:ext>
    </p:extLst>
  </p:cSld>
  <p:clrMapOvr>
    <a:masterClrMapping/>
  </p:clrMapOvr>
  <p:transition spd="slow">
    <p:strips dir="l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3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BEAEB72-01CB-4C4A-A55E-F6FBAF740E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5" y="0"/>
            <a:ext cx="12190413" cy="6858000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07486" y="4919281"/>
            <a:ext cx="5716883" cy="88434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359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" name="Прямоугольник 9">
            <a:extLst>
              <a:ext uri="{FF2B5EF4-FFF2-40B4-BE49-F238E27FC236}">
                <a16:creationId xmlns:a16="http://schemas.microsoft.com/office/drawing/2014/main" id="{E4A80532-0FF4-4FA4-8466-342AFB06891A}"/>
              </a:ext>
            </a:extLst>
          </p:cNvPr>
          <p:cNvSpPr/>
          <p:nvPr userDrawn="1"/>
        </p:nvSpPr>
        <p:spPr>
          <a:xfrm>
            <a:off x="507486" y="4868481"/>
            <a:ext cx="524997" cy="5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705592577"/>
      </p:ext>
    </p:extLst>
  </p:cSld>
  <p:clrMapOvr>
    <a:masterClrMapping/>
  </p:clrMapOvr>
  <p:transition spd="slow">
    <p:strips dir="l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3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B30306C-AEBB-4088-9CED-1765146811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90413" cy="6858000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78788" y="838794"/>
            <a:ext cx="5949875" cy="6036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359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Прямоугольник 9">
            <a:extLst>
              <a:ext uri="{FF2B5EF4-FFF2-40B4-BE49-F238E27FC236}">
                <a16:creationId xmlns:a16="http://schemas.microsoft.com/office/drawing/2014/main" id="{877135FF-EB0E-400A-AA2B-34F9BF95796E}"/>
              </a:ext>
            </a:extLst>
          </p:cNvPr>
          <p:cNvSpPr/>
          <p:nvPr userDrawn="1"/>
        </p:nvSpPr>
        <p:spPr>
          <a:xfrm>
            <a:off x="478788" y="787994"/>
            <a:ext cx="524997" cy="5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349889107"/>
      </p:ext>
    </p:extLst>
  </p:cSld>
  <p:clrMapOvr>
    <a:masterClrMapping/>
  </p:clrMapOvr>
  <p:transition spd="slow">
    <p:strips dir="l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3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B30306C-AEBB-4088-9CED-1765146811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90413" cy="6858000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692035" y="3581994"/>
            <a:ext cx="5251669" cy="6036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359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Прямоугольник 9">
            <a:extLst>
              <a:ext uri="{FF2B5EF4-FFF2-40B4-BE49-F238E27FC236}">
                <a16:creationId xmlns:a16="http://schemas.microsoft.com/office/drawing/2014/main" id="{4C76DFAC-A413-4C9A-A9D8-BB7386E45DC7}"/>
              </a:ext>
            </a:extLst>
          </p:cNvPr>
          <p:cNvSpPr/>
          <p:nvPr userDrawn="1"/>
        </p:nvSpPr>
        <p:spPr>
          <a:xfrm>
            <a:off x="6692035" y="3531194"/>
            <a:ext cx="524997" cy="5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414664270"/>
      </p:ext>
    </p:extLst>
  </p:cSld>
  <p:clrMapOvr>
    <a:masterClrMapping/>
  </p:clrMapOvr>
  <p:transition spd="slow">
    <p:strips dir="l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3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B30306C-AEBB-4088-9CED-1765146811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90413" cy="6858000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39752" y="5095261"/>
            <a:ext cx="5949875" cy="6036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359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Прямоугольник 9">
            <a:extLst>
              <a:ext uri="{FF2B5EF4-FFF2-40B4-BE49-F238E27FC236}">
                <a16:creationId xmlns:a16="http://schemas.microsoft.com/office/drawing/2014/main" id="{EE004F2B-8AE6-43E9-B0F9-9113D0AC84BB}"/>
              </a:ext>
            </a:extLst>
          </p:cNvPr>
          <p:cNvSpPr/>
          <p:nvPr userDrawn="1"/>
        </p:nvSpPr>
        <p:spPr>
          <a:xfrm>
            <a:off x="639753" y="5044461"/>
            <a:ext cx="524997" cy="5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738623254"/>
      </p:ext>
    </p:extLst>
  </p:cSld>
  <p:clrMapOvr>
    <a:masterClrMapping/>
  </p:clrMapOvr>
  <p:transition spd="slow">
    <p:strips dir="l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2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0"/>
            <a:ext cx="1219193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419D4F56-852B-4187-B5FC-B42C3A3547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2512" y="0"/>
            <a:ext cx="6609489" cy="6858000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28756" y="4863316"/>
            <a:ext cx="6843393" cy="884342"/>
          </a:xfrm>
          <a:solidFill>
            <a:srgbClr val="055BCB"/>
          </a:solidFill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4798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E16BF5A9-7E4B-4691-AF4B-472DBA6BD247}"/>
              </a:ext>
            </a:extLst>
          </p:cNvPr>
          <p:cNvSpPr/>
          <p:nvPr userDrawn="1"/>
        </p:nvSpPr>
        <p:spPr>
          <a:xfrm>
            <a:off x="728693" y="4812516"/>
            <a:ext cx="524997" cy="5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/>
          </a:p>
        </p:txBody>
      </p:sp>
      <p:pic>
        <p:nvPicPr>
          <p:cNvPr id="6" name="Picture 5" descr="A picture containing icon&#10;&#10;Description automatically generated">
            <a:extLst>
              <a:ext uri="{FF2B5EF4-FFF2-40B4-BE49-F238E27FC236}">
                <a16:creationId xmlns:a16="http://schemas.microsoft.com/office/drawing/2014/main" id="{51A67CCA-DA23-4C08-B266-779F3D33FF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104" y="268858"/>
            <a:ext cx="2252147" cy="1494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013600"/>
      </p:ext>
    </p:extLst>
  </p:cSld>
  <p:clrMapOvr>
    <a:masterClrMapping/>
  </p:clrMapOvr>
  <p:transition spd="slow">
    <p:strips dir="l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2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0"/>
            <a:ext cx="1219193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419D4F56-852B-4187-B5FC-B42C3A3547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2512" y="0"/>
            <a:ext cx="6609489" cy="6858000"/>
          </a:xfrm>
          <a:prstGeom prst="rect">
            <a:avLst/>
          </a:prstGeom>
        </p:spPr>
      </p:pic>
      <p:pic>
        <p:nvPicPr>
          <p:cNvPr id="6" name="Picture 5" descr="A picture containing icon&#10;&#10;Description automatically generated">
            <a:extLst>
              <a:ext uri="{FF2B5EF4-FFF2-40B4-BE49-F238E27FC236}">
                <a16:creationId xmlns:a16="http://schemas.microsoft.com/office/drawing/2014/main" id="{51A67CCA-DA23-4C08-B266-779F3D33FF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104" y="268858"/>
            <a:ext cx="2252147" cy="1494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98422"/>
      </p:ext>
    </p:extLst>
  </p:cSld>
  <p:clrMapOvr>
    <a:masterClrMapping/>
  </p:clrMapOvr>
  <p:transition spd="slow">
    <p:strips dir="l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3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BEAEB72-01CB-4C4A-A55E-F6FBAF740E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" y="0"/>
            <a:ext cx="12190413" cy="6858000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28756" y="954704"/>
            <a:ext cx="6843393" cy="88434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3598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8" name="Прямоугольник 9">
            <a:extLst>
              <a:ext uri="{FF2B5EF4-FFF2-40B4-BE49-F238E27FC236}">
                <a16:creationId xmlns:a16="http://schemas.microsoft.com/office/drawing/2014/main" id="{B0181533-4974-476B-AE60-5E15AB320DC4}"/>
              </a:ext>
            </a:extLst>
          </p:cNvPr>
          <p:cNvSpPr/>
          <p:nvPr userDrawn="1"/>
        </p:nvSpPr>
        <p:spPr>
          <a:xfrm>
            <a:off x="728756" y="903904"/>
            <a:ext cx="524997" cy="5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340853248"/>
      </p:ext>
    </p:extLst>
  </p:cSld>
  <p:clrMapOvr>
    <a:masterClrMapping/>
  </p:clrMapOvr>
  <p:transition spd="slow">
    <p:strips dir="l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343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C9F2CF8-F5D9-0425-0648-5E681E571F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5879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9F2CF8-F5D9-0425-0648-5E681E571F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AE7E925-F581-3ADA-88B2-C4418C220E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3519"/>
          <a:stretch/>
        </p:blipFill>
        <p:spPr>
          <a:xfrm>
            <a:off x="795" y="0"/>
            <a:ext cx="12190413" cy="1130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833B29-EF27-31C2-BCC1-6CC931A3A9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0"/>
            <a:ext cx="12191204" cy="1080000"/>
          </a:xfrm>
        </p:spPr>
        <p:txBody>
          <a:bodyPr vert="horz" lIns="252000" tIns="0" rIns="0" bIns="0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534E5E67-361F-306C-437E-243F9F5911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6875" y="1319844"/>
            <a:ext cx="11542713" cy="496887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3199711"/>
      </p:ext>
    </p:extLst>
  </p:cSld>
  <p:clrMapOvr>
    <a:masterClrMapping/>
  </p:clrMapOvr>
  <p:transition spd="slow">
    <p:strips dir="l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C9F2CF8-F5D9-0425-0648-5E681E571F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0261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9F2CF8-F5D9-0425-0648-5E681E571F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9BDBF712-F5F2-D48E-5B67-D0BE0CA6A3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9012"/>
          <a:stretch/>
        </p:blipFill>
        <p:spPr>
          <a:xfrm>
            <a:off x="795" y="0"/>
            <a:ext cx="377757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833B29-EF27-31C2-BCC1-6CC931A3A9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023" y="2605178"/>
            <a:ext cx="3433313" cy="1647645"/>
          </a:xfrm>
        </p:spPr>
        <p:txBody>
          <a:bodyPr vert="horz" lIns="252000" tIns="0" rIns="0" bIns="0"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6499890"/>
      </p:ext>
    </p:extLst>
  </p:cSld>
  <p:clrMapOvr>
    <a:masterClrMapping/>
  </p:clrMapOvr>
  <p:transition spd="slow">
    <p:strips dir="l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ayout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5">
            <a:extLst>
              <a:ext uri="{FF2B5EF4-FFF2-40B4-BE49-F238E27FC236}">
                <a16:creationId xmlns:a16="http://schemas.microsoft.com/office/drawing/2014/main" id="{2D6036C9-24B7-42B3-81C1-19ACF2C6FC4A}"/>
              </a:ext>
            </a:extLst>
          </p:cNvPr>
          <p:cNvSpPr/>
          <p:nvPr userDrawn="1"/>
        </p:nvSpPr>
        <p:spPr>
          <a:xfrm flipH="1" flipV="1">
            <a:off x="10458501" y="2"/>
            <a:ext cx="1733501" cy="1733729"/>
          </a:xfrm>
          <a:custGeom>
            <a:avLst/>
            <a:gdLst>
              <a:gd name="connsiteX0" fmla="*/ 0 w 1876424"/>
              <a:gd name="connsiteY0" fmla="*/ 0 h 1876426"/>
              <a:gd name="connsiteX1" fmla="*/ 1876424 w 1876424"/>
              <a:gd name="connsiteY1" fmla="*/ 1876425 h 1876426"/>
              <a:gd name="connsiteX2" fmla="*/ 1876424 w 1876424"/>
              <a:gd name="connsiteY2" fmla="*/ 1876426 h 1876426"/>
              <a:gd name="connsiteX3" fmla="*/ 1325880 w 1876424"/>
              <a:gd name="connsiteY3" fmla="*/ 1876426 h 1876426"/>
              <a:gd name="connsiteX4" fmla="*/ 1325880 w 1876424"/>
              <a:gd name="connsiteY4" fmla="*/ 1876425 h 1876426"/>
              <a:gd name="connsiteX5" fmla="*/ 0 w 1876424"/>
              <a:gd name="connsiteY5" fmla="*/ 550545 h 1876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76424" h="1876426">
                <a:moveTo>
                  <a:pt x="0" y="0"/>
                </a:moveTo>
                <a:cubicBezTo>
                  <a:pt x="1036320" y="0"/>
                  <a:pt x="1876424" y="840104"/>
                  <a:pt x="1876424" y="1876425"/>
                </a:cubicBezTo>
                <a:lnTo>
                  <a:pt x="1876424" y="1876426"/>
                </a:lnTo>
                <a:lnTo>
                  <a:pt x="1325880" y="1876426"/>
                </a:lnTo>
                <a:lnTo>
                  <a:pt x="1325880" y="1876425"/>
                </a:lnTo>
                <a:cubicBezTo>
                  <a:pt x="1325880" y="1144162"/>
                  <a:pt x="732264" y="550545"/>
                  <a:pt x="0" y="550545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1000">
                <a:schemeClr val="accent1"/>
              </a:gs>
              <a:gs pos="100000">
                <a:schemeClr val="accent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039953219"/>
      </p:ext>
    </p:extLst>
  </p:cSld>
  <p:clrMapOvr>
    <a:masterClrMapping/>
  </p:clrMapOvr>
  <p:transition spd="slow">
    <p:strips dir="l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811076" y="3750314"/>
            <a:ext cx="8292528" cy="115214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36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761F735-721B-4725-9E3E-BA2E595973FD}"/>
              </a:ext>
            </a:extLst>
          </p:cNvPr>
          <p:cNvSpPr/>
          <p:nvPr userDrawn="1"/>
        </p:nvSpPr>
        <p:spPr>
          <a:xfrm flipH="1" flipV="1">
            <a:off x="10458501" y="2"/>
            <a:ext cx="1733501" cy="1733729"/>
          </a:xfrm>
          <a:custGeom>
            <a:avLst/>
            <a:gdLst>
              <a:gd name="connsiteX0" fmla="*/ 0 w 1876424"/>
              <a:gd name="connsiteY0" fmla="*/ 0 h 1876426"/>
              <a:gd name="connsiteX1" fmla="*/ 1876424 w 1876424"/>
              <a:gd name="connsiteY1" fmla="*/ 1876425 h 1876426"/>
              <a:gd name="connsiteX2" fmla="*/ 1876424 w 1876424"/>
              <a:gd name="connsiteY2" fmla="*/ 1876426 h 1876426"/>
              <a:gd name="connsiteX3" fmla="*/ 1325880 w 1876424"/>
              <a:gd name="connsiteY3" fmla="*/ 1876426 h 1876426"/>
              <a:gd name="connsiteX4" fmla="*/ 1325880 w 1876424"/>
              <a:gd name="connsiteY4" fmla="*/ 1876425 h 1876426"/>
              <a:gd name="connsiteX5" fmla="*/ 0 w 1876424"/>
              <a:gd name="connsiteY5" fmla="*/ 550545 h 1876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76424" h="1876426">
                <a:moveTo>
                  <a:pt x="0" y="0"/>
                </a:moveTo>
                <a:cubicBezTo>
                  <a:pt x="1036320" y="0"/>
                  <a:pt x="1876424" y="840104"/>
                  <a:pt x="1876424" y="1876425"/>
                </a:cubicBezTo>
                <a:lnTo>
                  <a:pt x="1876424" y="1876426"/>
                </a:lnTo>
                <a:lnTo>
                  <a:pt x="1325880" y="1876426"/>
                </a:lnTo>
                <a:lnTo>
                  <a:pt x="1325880" y="1876425"/>
                </a:lnTo>
                <a:cubicBezTo>
                  <a:pt x="1325880" y="1144162"/>
                  <a:pt x="732264" y="550545"/>
                  <a:pt x="0" y="550545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61000">
                <a:schemeClr val="accent1"/>
              </a:gs>
              <a:gs pos="100000">
                <a:schemeClr val="accent1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13" name="Прямоугольник 9">
            <a:extLst>
              <a:ext uri="{FF2B5EF4-FFF2-40B4-BE49-F238E27FC236}">
                <a16:creationId xmlns:a16="http://schemas.microsoft.com/office/drawing/2014/main" id="{6DE26AE3-B6A7-4F2D-9B6D-23A2B09AE249}"/>
              </a:ext>
            </a:extLst>
          </p:cNvPr>
          <p:cNvSpPr/>
          <p:nvPr userDrawn="1"/>
        </p:nvSpPr>
        <p:spPr>
          <a:xfrm>
            <a:off x="811078" y="3694846"/>
            <a:ext cx="524997" cy="5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948299430"/>
      </p:ext>
    </p:extLst>
  </p:cSld>
  <p:clrMapOvr>
    <a:masterClrMapping/>
  </p:clrMapOvr>
  <p:transition spd="slow">
    <p:strips dir="l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2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2" y="0"/>
            <a:ext cx="12191937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pic>
        <p:nvPicPr>
          <p:cNvPr id="5" name="Picture 4" descr="Icon&#10;&#10;Description automatically generated">
            <a:extLst>
              <a:ext uri="{FF2B5EF4-FFF2-40B4-BE49-F238E27FC236}">
                <a16:creationId xmlns:a16="http://schemas.microsoft.com/office/drawing/2014/main" id="{419D4F56-852B-4187-B5FC-B42C3A3547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2513" y="0"/>
            <a:ext cx="6609489" cy="6858000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28757" y="4863316"/>
            <a:ext cx="6843393" cy="88434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479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E16BF5A9-7E4B-4691-AF4B-472DBA6BD247}"/>
              </a:ext>
            </a:extLst>
          </p:cNvPr>
          <p:cNvSpPr/>
          <p:nvPr userDrawn="1"/>
        </p:nvSpPr>
        <p:spPr>
          <a:xfrm>
            <a:off x="728694" y="4812516"/>
            <a:ext cx="524997" cy="5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/>
          </a:p>
        </p:txBody>
      </p:sp>
      <p:pic>
        <p:nvPicPr>
          <p:cNvPr id="6" name="Picture 5" descr="A picture containing icon&#10;&#10;Description automatically generated">
            <a:extLst>
              <a:ext uri="{FF2B5EF4-FFF2-40B4-BE49-F238E27FC236}">
                <a16:creationId xmlns:a16="http://schemas.microsoft.com/office/drawing/2014/main" id="{51A67CCA-DA23-4C08-B266-779F3D33FF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105" y="268859"/>
            <a:ext cx="2252147" cy="1494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027063"/>
      </p:ext>
    </p:extLst>
  </p:cSld>
  <p:clrMapOvr>
    <a:masterClrMapping/>
  </p:clrMapOvr>
  <p:transition spd="slow">
    <p:strips dir="l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3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BEAEB72-01CB-4C4A-A55E-F6FBAF740E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5" y="0"/>
            <a:ext cx="12190413" cy="6858000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28757" y="954704"/>
            <a:ext cx="6843393" cy="88434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359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8" name="Прямоугольник 9">
            <a:extLst>
              <a:ext uri="{FF2B5EF4-FFF2-40B4-BE49-F238E27FC236}">
                <a16:creationId xmlns:a16="http://schemas.microsoft.com/office/drawing/2014/main" id="{B0181533-4974-476B-AE60-5E15AB320DC4}"/>
              </a:ext>
            </a:extLst>
          </p:cNvPr>
          <p:cNvSpPr/>
          <p:nvPr userDrawn="1"/>
        </p:nvSpPr>
        <p:spPr>
          <a:xfrm>
            <a:off x="728757" y="903904"/>
            <a:ext cx="524997" cy="5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625528306"/>
      </p:ext>
    </p:extLst>
  </p:cSld>
  <p:clrMapOvr>
    <a:masterClrMapping/>
  </p:clrMapOvr>
  <p:transition spd="slow">
    <p:strips dir="l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3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BEAEB72-01CB-4C4A-A55E-F6FBAF740E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5" y="0"/>
            <a:ext cx="12190413" cy="6858000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241334" y="3240704"/>
            <a:ext cx="5716883" cy="88434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359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" name="Прямоугольник 9">
            <a:extLst>
              <a:ext uri="{FF2B5EF4-FFF2-40B4-BE49-F238E27FC236}">
                <a16:creationId xmlns:a16="http://schemas.microsoft.com/office/drawing/2014/main" id="{E4A80532-0FF4-4FA4-8466-342AFB06891A}"/>
              </a:ext>
            </a:extLst>
          </p:cNvPr>
          <p:cNvSpPr/>
          <p:nvPr userDrawn="1"/>
        </p:nvSpPr>
        <p:spPr>
          <a:xfrm>
            <a:off x="6241334" y="3189904"/>
            <a:ext cx="524997" cy="50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312408096"/>
      </p:ext>
    </p:extLst>
  </p:cSld>
  <p:clrMapOvr>
    <a:masterClrMapping/>
  </p:clrMapOvr>
  <p:transition spd="slow">
    <p:strips dir="l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3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BEAEB72-01CB-4C4A-A55E-F6FBAF740E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5" y="0"/>
            <a:ext cx="12190413" cy="6858000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07486" y="4919281"/>
            <a:ext cx="5716883" cy="88434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359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929793642"/>
      </p:ext>
    </p:extLst>
  </p:cSld>
  <p:clrMapOvr>
    <a:masterClrMapping/>
  </p:clrMapOvr>
  <p:transition spd="slow">
    <p:strips dir="l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904668-239B-47BE-9226-0BEEF31DD0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415035866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95" imgH="394" progId="TCLayout.ActiveDocument.1">
                  <p:embed/>
                </p:oleObj>
              </mc:Choice>
              <mc:Fallback>
                <p:oleObj name="think-cell Slide" r:id="rId2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904668-239B-47BE-9226-0BEEF31DD0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68E4D44-A887-47A5-B055-F51790D1CAF8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2" y="2"/>
            <a:ext cx="79365" cy="793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397" b="0" i="0" baseline="0" dirty="0">
              <a:latin typeface="Futura PT Bold" panose="020B0902020204020203" pitchFamily="34" charset="0"/>
              <a:ea typeface="+mj-ea"/>
              <a:cs typeface="+mj-cs"/>
              <a:sym typeface="Futura PT Bold" panose="020B09020202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48A7A692-28D9-49AA-B880-EE1F6CFDBF3F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9" y="6301252"/>
            <a:ext cx="822059" cy="54560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80804BF-7004-EC70-FDB9-17BD0E6FDE57}"/>
              </a:ext>
            </a:extLst>
          </p:cNvPr>
          <p:cNvSpPr txBox="1"/>
          <p:nvPr userDrawn="1"/>
        </p:nvSpPr>
        <p:spPr>
          <a:xfrm>
            <a:off x="11688000" y="6498000"/>
            <a:ext cx="504000" cy="360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accent4">
                    <a:lumMod val="60000"/>
                    <a:lumOff val="4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60000"/>
                  <a:lumOff val="4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6638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ransition spd="slow">
    <p:strips dir="ld"/>
  </p:transition>
  <p:hf hdr="0" dt="0"/>
  <p:txStyles>
    <p:titleStyle>
      <a:lvl1pPr algn="l" defTabSz="913851" rtl="0" eaLnBrk="1" latinLnBrk="0" hangingPunct="1">
        <a:lnSpc>
          <a:spcPct val="90000"/>
        </a:lnSpc>
        <a:spcBef>
          <a:spcPct val="0"/>
        </a:spcBef>
        <a:buNone/>
        <a:defRPr sz="439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62" indent="-228462" algn="l" defTabSz="91385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7" kern="1200">
          <a:solidFill>
            <a:schemeClr val="tx1"/>
          </a:solidFill>
          <a:latin typeface="+mn-lt"/>
          <a:ea typeface="+mn-ea"/>
          <a:cs typeface="+mn-cs"/>
        </a:defRPr>
      </a:lvl1pPr>
      <a:lvl2pPr marL="685389" indent="-228462" algn="l" defTabSz="9138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313" indent="-228462" algn="l" defTabSz="9138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240" indent="-228462" algn="l" defTabSz="9138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167" indent="-228462" algn="l" defTabSz="9138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091" indent="-228462" algn="l" defTabSz="9138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18" indent="-228462" algn="l" defTabSz="9138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942" indent="-228462" algn="l" defTabSz="9138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869" indent="-228462" algn="l" defTabSz="91385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27" algn="l" defTabSz="913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1" algn="l" defTabSz="913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2" algn="l" defTabSz="913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9" algn="l" defTabSz="913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4" algn="l" defTabSz="913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D0C680B1-81EF-547B-0B79-13B7863FD0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0C680B1-81EF-547B-0B79-13B7863FD0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Freeform 78">
            <a:extLst>
              <a:ext uri="{FF2B5EF4-FFF2-40B4-BE49-F238E27FC236}">
                <a16:creationId xmlns:a16="http://schemas.microsoft.com/office/drawing/2014/main" id="{D0CB2985-CFEA-0642-89D7-AD35355424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1973" y="1034142"/>
            <a:ext cx="3210686" cy="5515247"/>
          </a:xfrm>
          <a:prstGeom prst="roundRect">
            <a:avLst>
              <a:gd name="adj" fmla="val 10610"/>
            </a:avLst>
          </a:prstGeom>
          <a:noFill/>
          <a:ln w="38100" cap="flat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+mn-cs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5F6594B8-2B12-8647-A41B-FCF3C986803E}"/>
              </a:ext>
            </a:extLst>
          </p:cNvPr>
          <p:cNvGrpSpPr/>
          <p:nvPr/>
        </p:nvGrpSpPr>
        <p:grpSpPr>
          <a:xfrm>
            <a:off x="789715" y="1446122"/>
            <a:ext cx="1321078" cy="758040"/>
            <a:chOff x="1576255" y="4583883"/>
            <a:chExt cx="2642156" cy="1516080"/>
          </a:xfrm>
        </p:grpSpPr>
        <p:sp>
          <p:nvSpPr>
            <p:cNvPr id="30" name="Freeform 2">
              <a:extLst>
                <a:ext uri="{FF2B5EF4-FFF2-40B4-BE49-F238E27FC236}">
                  <a16:creationId xmlns:a16="http://schemas.microsoft.com/office/drawing/2014/main" id="{C102610E-8BBD-3446-80C1-B3BF1421A5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6257" y="5830805"/>
              <a:ext cx="390007" cy="269158"/>
            </a:xfrm>
            <a:custGeom>
              <a:avLst/>
              <a:gdLst>
                <a:gd name="T0" fmla="*/ 311 w 312"/>
                <a:gd name="T1" fmla="*/ 0 h 214"/>
                <a:gd name="T2" fmla="*/ 106 w 312"/>
                <a:gd name="T3" fmla="*/ 0 h 214"/>
                <a:gd name="T4" fmla="*/ 106 w 312"/>
                <a:gd name="T5" fmla="*/ 0 h 214"/>
                <a:gd name="T6" fmla="*/ 0 w 312"/>
                <a:gd name="T7" fmla="*/ 107 h 214"/>
                <a:gd name="T8" fmla="*/ 0 w 312"/>
                <a:gd name="T9" fmla="*/ 107 h 214"/>
                <a:gd name="T10" fmla="*/ 106 w 312"/>
                <a:gd name="T11" fmla="*/ 213 h 214"/>
                <a:gd name="T12" fmla="*/ 311 w 312"/>
                <a:gd name="T13" fmla="*/ 213 h 214"/>
                <a:gd name="T14" fmla="*/ 311 w 312"/>
                <a:gd name="T15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2" h="214">
                  <a:moveTo>
                    <a:pt x="311" y="0"/>
                  </a:moveTo>
                  <a:lnTo>
                    <a:pt x="106" y="0"/>
                  </a:lnTo>
                  <a:lnTo>
                    <a:pt x="106" y="0"/>
                  </a:lnTo>
                  <a:cubicBezTo>
                    <a:pt x="48" y="0"/>
                    <a:pt x="0" y="48"/>
                    <a:pt x="0" y="107"/>
                  </a:cubicBezTo>
                  <a:lnTo>
                    <a:pt x="0" y="107"/>
                  </a:lnTo>
                  <a:cubicBezTo>
                    <a:pt x="0" y="165"/>
                    <a:pt x="48" y="213"/>
                    <a:pt x="106" y="213"/>
                  </a:cubicBezTo>
                  <a:lnTo>
                    <a:pt x="311" y="213"/>
                  </a:lnTo>
                  <a:lnTo>
                    <a:pt x="311" y="0"/>
                  </a:ln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  <p:sp>
          <p:nvSpPr>
            <p:cNvPr id="31" name="Freeform 3">
              <a:extLst>
                <a:ext uri="{FF2B5EF4-FFF2-40B4-BE49-F238E27FC236}">
                  <a16:creationId xmlns:a16="http://schemas.microsoft.com/office/drawing/2014/main" id="{665BB3E9-8039-014C-AE0D-D9EF819BB1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6257" y="5830805"/>
              <a:ext cx="390007" cy="269158"/>
            </a:xfrm>
            <a:custGeom>
              <a:avLst/>
              <a:gdLst>
                <a:gd name="T0" fmla="*/ 311 w 312"/>
                <a:gd name="T1" fmla="*/ 0 h 214"/>
                <a:gd name="T2" fmla="*/ 106 w 312"/>
                <a:gd name="T3" fmla="*/ 0 h 214"/>
                <a:gd name="T4" fmla="*/ 106 w 312"/>
                <a:gd name="T5" fmla="*/ 0 h 214"/>
                <a:gd name="T6" fmla="*/ 0 w 312"/>
                <a:gd name="T7" fmla="*/ 107 h 214"/>
                <a:gd name="T8" fmla="*/ 0 w 312"/>
                <a:gd name="T9" fmla="*/ 107 h 214"/>
                <a:gd name="T10" fmla="*/ 106 w 312"/>
                <a:gd name="T11" fmla="*/ 213 h 214"/>
                <a:gd name="T12" fmla="*/ 311 w 312"/>
                <a:gd name="T13" fmla="*/ 213 h 214"/>
                <a:gd name="T14" fmla="*/ 311 w 312"/>
                <a:gd name="T15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2" h="214">
                  <a:moveTo>
                    <a:pt x="311" y="0"/>
                  </a:moveTo>
                  <a:lnTo>
                    <a:pt x="106" y="0"/>
                  </a:lnTo>
                  <a:lnTo>
                    <a:pt x="106" y="0"/>
                  </a:lnTo>
                  <a:cubicBezTo>
                    <a:pt x="48" y="0"/>
                    <a:pt x="0" y="48"/>
                    <a:pt x="0" y="107"/>
                  </a:cubicBezTo>
                  <a:lnTo>
                    <a:pt x="0" y="107"/>
                  </a:lnTo>
                  <a:cubicBezTo>
                    <a:pt x="0" y="165"/>
                    <a:pt x="48" y="213"/>
                    <a:pt x="106" y="213"/>
                  </a:cubicBezTo>
                  <a:lnTo>
                    <a:pt x="311" y="213"/>
                  </a:lnTo>
                  <a:lnTo>
                    <a:pt x="311" y="0"/>
                  </a:lnTo>
                </a:path>
              </a:pathLst>
            </a:custGeom>
            <a:solidFill>
              <a:srgbClr val="121143">
                <a:alpha val="50000"/>
              </a:srgb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  <p:sp>
          <p:nvSpPr>
            <p:cNvPr id="37" name="Freeform 83">
              <a:extLst>
                <a:ext uri="{FF2B5EF4-FFF2-40B4-BE49-F238E27FC236}">
                  <a16:creationId xmlns:a16="http://schemas.microsoft.com/office/drawing/2014/main" id="{23F4F7B3-3A7B-DC4A-8647-D6CA8BD17F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6255" y="4583883"/>
              <a:ext cx="2642156" cy="1444672"/>
            </a:xfrm>
            <a:custGeom>
              <a:avLst/>
              <a:gdLst>
                <a:gd name="T0" fmla="*/ 1371 w 2122"/>
                <a:gd name="T1" fmla="*/ 1119 h 1158"/>
                <a:gd name="T2" fmla="*/ 1371 w 2122"/>
                <a:gd name="T3" fmla="*/ 1033 h 1158"/>
                <a:gd name="T4" fmla="*/ 1371 w 2122"/>
                <a:gd name="T5" fmla="*/ 1033 h 1158"/>
                <a:gd name="T6" fmla="*/ 1342 w 2122"/>
                <a:gd name="T7" fmla="*/ 1003 h 1158"/>
                <a:gd name="T8" fmla="*/ 106 w 2122"/>
                <a:gd name="T9" fmla="*/ 1003 h 1158"/>
                <a:gd name="T10" fmla="*/ 106 w 2122"/>
                <a:gd name="T11" fmla="*/ 1003 h 1158"/>
                <a:gd name="T12" fmla="*/ 0 w 2122"/>
                <a:gd name="T13" fmla="*/ 1110 h 1158"/>
                <a:gd name="T14" fmla="*/ 0 w 2122"/>
                <a:gd name="T15" fmla="*/ 260 h 1158"/>
                <a:gd name="T16" fmla="*/ 0 w 2122"/>
                <a:gd name="T17" fmla="*/ 260 h 1158"/>
                <a:gd name="T18" fmla="*/ 106 w 2122"/>
                <a:gd name="T19" fmla="*/ 154 h 1158"/>
                <a:gd name="T20" fmla="*/ 1342 w 2122"/>
                <a:gd name="T21" fmla="*/ 154 h 1158"/>
                <a:gd name="T22" fmla="*/ 1342 w 2122"/>
                <a:gd name="T23" fmla="*/ 154 h 1158"/>
                <a:gd name="T24" fmla="*/ 1371 w 2122"/>
                <a:gd name="T25" fmla="*/ 124 h 1158"/>
                <a:gd name="T26" fmla="*/ 1371 w 2122"/>
                <a:gd name="T27" fmla="*/ 38 h 1158"/>
                <a:gd name="T28" fmla="*/ 1371 w 2122"/>
                <a:gd name="T29" fmla="*/ 38 h 1158"/>
                <a:gd name="T30" fmla="*/ 1418 w 2122"/>
                <a:gd name="T31" fmla="*/ 15 h 1158"/>
                <a:gd name="T32" fmla="*/ 2106 w 2122"/>
                <a:gd name="T33" fmla="*/ 556 h 1158"/>
                <a:gd name="T34" fmla="*/ 2106 w 2122"/>
                <a:gd name="T35" fmla="*/ 556 h 1158"/>
                <a:gd name="T36" fmla="*/ 2106 w 2122"/>
                <a:gd name="T37" fmla="*/ 601 h 1158"/>
                <a:gd name="T38" fmla="*/ 1418 w 2122"/>
                <a:gd name="T39" fmla="*/ 1142 h 1158"/>
                <a:gd name="T40" fmla="*/ 1418 w 2122"/>
                <a:gd name="T41" fmla="*/ 1142 h 1158"/>
                <a:gd name="T42" fmla="*/ 1371 w 2122"/>
                <a:gd name="T43" fmla="*/ 1119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22" h="1158">
                  <a:moveTo>
                    <a:pt x="1371" y="1119"/>
                  </a:moveTo>
                  <a:lnTo>
                    <a:pt x="1371" y="1033"/>
                  </a:lnTo>
                  <a:lnTo>
                    <a:pt x="1371" y="1033"/>
                  </a:lnTo>
                  <a:cubicBezTo>
                    <a:pt x="1371" y="1016"/>
                    <a:pt x="1358" y="1003"/>
                    <a:pt x="1342" y="1003"/>
                  </a:cubicBezTo>
                  <a:lnTo>
                    <a:pt x="106" y="1003"/>
                  </a:lnTo>
                  <a:lnTo>
                    <a:pt x="106" y="1003"/>
                  </a:lnTo>
                  <a:cubicBezTo>
                    <a:pt x="48" y="1003"/>
                    <a:pt x="0" y="1051"/>
                    <a:pt x="0" y="1110"/>
                  </a:cubicBezTo>
                  <a:lnTo>
                    <a:pt x="0" y="260"/>
                  </a:lnTo>
                  <a:lnTo>
                    <a:pt x="0" y="260"/>
                  </a:lnTo>
                  <a:cubicBezTo>
                    <a:pt x="0" y="201"/>
                    <a:pt x="48" y="154"/>
                    <a:pt x="106" y="154"/>
                  </a:cubicBezTo>
                  <a:lnTo>
                    <a:pt x="1342" y="154"/>
                  </a:lnTo>
                  <a:lnTo>
                    <a:pt x="1342" y="154"/>
                  </a:lnTo>
                  <a:cubicBezTo>
                    <a:pt x="1358" y="154"/>
                    <a:pt x="1371" y="140"/>
                    <a:pt x="1371" y="124"/>
                  </a:cubicBezTo>
                  <a:lnTo>
                    <a:pt x="1371" y="38"/>
                  </a:lnTo>
                  <a:lnTo>
                    <a:pt x="1371" y="38"/>
                  </a:lnTo>
                  <a:cubicBezTo>
                    <a:pt x="1371" y="13"/>
                    <a:pt x="1399" y="0"/>
                    <a:pt x="1418" y="15"/>
                  </a:cubicBezTo>
                  <a:lnTo>
                    <a:pt x="2106" y="556"/>
                  </a:lnTo>
                  <a:lnTo>
                    <a:pt x="2106" y="556"/>
                  </a:lnTo>
                  <a:cubicBezTo>
                    <a:pt x="2121" y="567"/>
                    <a:pt x="2121" y="590"/>
                    <a:pt x="2106" y="601"/>
                  </a:cubicBezTo>
                  <a:lnTo>
                    <a:pt x="1418" y="1142"/>
                  </a:lnTo>
                  <a:lnTo>
                    <a:pt x="1418" y="1142"/>
                  </a:lnTo>
                  <a:cubicBezTo>
                    <a:pt x="1399" y="1157"/>
                    <a:pt x="1371" y="1143"/>
                    <a:pt x="1371" y="1119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</p:grpSp>
      <p:sp>
        <p:nvSpPr>
          <p:cNvPr id="38" name="Freeform 200">
            <a:extLst>
              <a:ext uri="{FF2B5EF4-FFF2-40B4-BE49-F238E27FC236}">
                <a16:creationId xmlns:a16="http://schemas.microsoft.com/office/drawing/2014/main" id="{0F6AF5D0-87F6-1641-A2BA-E400306550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88159" y="1034143"/>
            <a:ext cx="3210686" cy="5515246"/>
          </a:xfrm>
          <a:prstGeom prst="roundRect">
            <a:avLst>
              <a:gd name="adj" fmla="val 10503"/>
            </a:avLst>
          </a:prstGeom>
          <a:noFill/>
          <a:ln w="38100" cap="flat">
            <a:solidFill>
              <a:schemeClr val="accent4">
                <a:lumMod val="60000"/>
                <a:lumOff val="4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+mn-cs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4D9EE1A-6549-914C-94B1-DA241D9EA1A4}"/>
              </a:ext>
            </a:extLst>
          </p:cNvPr>
          <p:cNvGrpSpPr/>
          <p:nvPr/>
        </p:nvGrpSpPr>
        <p:grpSpPr>
          <a:xfrm>
            <a:off x="4393154" y="1446122"/>
            <a:ext cx="1321078" cy="758040"/>
            <a:chOff x="8783133" y="4583883"/>
            <a:chExt cx="2642156" cy="1516080"/>
          </a:xfrm>
        </p:grpSpPr>
        <p:sp>
          <p:nvSpPr>
            <p:cNvPr id="32" name="Freeform 4">
              <a:extLst>
                <a:ext uri="{FF2B5EF4-FFF2-40B4-BE49-F238E27FC236}">
                  <a16:creationId xmlns:a16="http://schemas.microsoft.com/office/drawing/2014/main" id="{5B9B800A-A243-F544-A9A4-1C85EC88A7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83135" y="5830805"/>
              <a:ext cx="390007" cy="269158"/>
            </a:xfrm>
            <a:custGeom>
              <a:avLst/>
              <a:gdLst>
                <a:gd name="T0" fmla="*/ 311 w 312"/>
                <a:gd name="T1" fmla="*/ 0 h 214"/>
                <a:gd name="T2" fmla="*/ 107 w 312"/>
                <a:gd name="T3" fmla="*/ 0 h 214"/>
                <a:gd name="T4" fmla="*/ 107 w 312"/>
                <a:gd name="T5" fmla="*/ 0 h 214"/>
                <a:gd name="T6" fmla="*/ 0 w 312"/>
                <a:gd name="T7" fmla="*/ 107 h 214"/>
                <a:gd name="T8" fmla="*/ 0 w 312"/>
                <a:gd name="T9" fmla="*/ 107 h 214"/>
                <a:gd name="T10" fmla="*/ 107 w 312"/>
                <a:gd name="T11" fmla="*/ 213 h 214"/>
                <a:gd name="T12" fmla="*/ 311 w 312"/>
                <a:gd name="T13" fmla="*/ 213 h 214"/>
                <a:gd name="T14" fmla="*/ 311 w 312"/>
                <a:gd name="T15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2" h="214">
                  <a:moveTo>
                    <a:pt x="311" y="0"/>
                  </a:moveTo>
                  <a:lnTo>
                    <a:pt x="107" y="0"/>
                  </a:lnTo>
                  <a:lnTo>
                    <a:pt x="107" y="0"/>
                  </a:lnTo>
                  <a:cubicBezTo>
                    <a:pt x="48" y="0"/>
                    <a:pt x="0" y="48"/>
                    <a:pt x="0" y="107"/>
                  </a:cubicBezTo>
                  <a:lnTo>
                    <a:pt x="0" y="107"/>
                  </a:lnTo>
                  <a:cubicBezTo>
                    <a:pt x="0" y="165"/>
                    <a:pt x="48" y="213"/>
                    <a:pt x="107" y="213"/>
                  </a:cubicBezTo>
                  <a:lnTo>
                    <a:pt x="311" y="213"/>
                  </a:lnTo>
                  <a:lnTo>
                    <a:pt x="311" y="0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  <p:sp>
          <p:nvSpPr>
            <p:cNvPr id="33" name="Freeform 5">
              <a:extLst>
                <a:ext uri="{FF2B5EF4-FFF2-40B4-BE49-F238E27FC236}">
                  <a16:creationId xmlns:a16="http://schemas.microsoft.com/office/drawing/2014/main" id="{3FA7566C-5518-F94A-87CD-A11F0150C1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83135" y="5830805"/>
              <a:ext cx="390007" cy="269158"/>
            </a:xfrm>
            <a:custGeom>
              <a:avLst/>
              <a:gdLst>
                <a:gd name="T0" fmla="*/ 311 w 312"/>
                <a:gd name="T1" fmla="*/ 0 h 214"/>
                <a:gd name="T2" fmla="*/ 107 w 312"/>
                <a:gd name="T3" fmla="*/ 0 h 214"/>
                <a:gd name="T4" fmla="*/ 107 w 312"/>
                <a:gd name="T5" fmla="*/ 0 h 214"/>
                <a:gd name="T6" fmla="*/ 0 w 312"/>
                <a:gd name="T7" fmla="*/ 107 h 214"/>
                <a:gd name="T8" fmla="*/ 0 w 312"/>
                <a:gd name="T9" fmla="*/ 107 h 214"/>
                <a:gd name="T10" fmla="*/ 107 w 312"/>
                <a:gd name="T11" fmla="*/ 213 h 214"/>
                <a:gd name="T12" fmla="*/ 311 w 312"/>
                <a:gd name="T13" fmla="*/ 213 h 214"/>
                <a:gd name="T14" fmla="*/ 311 w 312"/>
                <a:gd name="T15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2" h="214">
                  <a:moveTo>
                    <a:pt x="311" y="0"/>
                  </a:moveTo>
                  <a:lnTo>
                    <a:pt x="107" y="0"/>
                  </a:lnTo>
                  <a:lnTo>
                    <a:pt x="107" y="0"/>
                  </a:lnTo>
                  <a:cubicBezTo>
                    <a:pt x="48" y="0"/>
                    <a:pt x="0" y="48"/>
                    <a:pt x="0" y="107"/>
                  </a:cubicBezTo>
                  <a:lnTo>
                    <a:pt x="0" y="107"/>
                  </a:lnTo>
                  <a:cubicBezTo>
                    <a:pt x="0" y="165"/>
                    <a:pt x="48" y="213"/>
                    <a:pt x="107" y="213"/>
                  </a:cubicBezTo>
                  <a:lnTo>
                    <a:pt x="311" y="213"/>
                  </a:lnTo>
                  <a:lnTo>
                    <a:pt x="311" y="0"/>
                  </a:lnTo>
                </a:path>
              </a:pathLst>
            </a:custGeom>
            <a:solidFill>
              <a:srgbClr val="728EAE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  <p:sp>
          <p:nvSpPr>
            <p:cNvPr id="39" name="Freeform 205">
              <a:extLst>
                <a:ext uri="{FF2B5EF4-FFF2-40B4-BE49-F238E27FC236}">
                  <a16:creationId xmlns:a16="http://schemas.microsoft.com/office/drawing/2014/main" id="{7C4EAB06-30CC-6C4E-BACB-1EADCC1D0B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83133" y="4583883"/>
              <a:ext cx="2642156" cy="1444672"/>
            </a:xfrm>
            <a:custGeom>
              <a:avLst/>
              <a:gdLst>
                <a:gd name="T0" fmla="*/ 1371 w 2122"/>
                <a:gd name="T1" fmla="*/ 1119 h 1158"/>
                <a:gd name="T2" fmla="*/ 1371 w 2122"/>
                <a:gd name="T3" fmla="*/ 1033 h 1158"/>
                <a:gd name="T4" fmla="*/ 1371 w 2122"/>
                <a:gd name="T5" fmla="*/ 1033 h 1158"/>
                <a:gd name="T6" fmla="*/ 1342 w 2122"/>
                <a:gd name="T7" fmla="*/ 1003 h 1158"/>
                <a:gd name="T8" fmla="*/ 106 w 2122"/>
                <a:gd name="T9" fmla="*/ 1003 h 1158"/>
                <a:gd name="T10" fmla="*/ 106 w 2122"/>
                <a:gd name="T11" fmla="*/ 1003 h 1158"/>
                <a:gd name="T12" fmla="*/ 0 w 2122"/>
                <a:gd name="T13" fmla="*/ 1110 h 1158"/>
                <a:gd name="T14" fmla="*/ 0 w 2122"/>
                <a:gd name="T15" fmla="*/ 260 h 1158"/>
                <a:gd name="T16" fmla="*/ 0 w 2122"/>
                <a:gd name="T17" fmla="*/ 260 h 1158"/>
                <a:gd name="T18" fmla="*/ 107 w 2122"/>
                <a:gd name="T19" fmla="*/ 154 h 1158"/>
                <a:gd name="T20" fmla="*/ 1342 w 2122"/>
                <a:gd name="T21" fmla="*/ 154 h 1158"/>
                <a:gd name="T22" fmla="*/ 1342 w 2122"/>
                <a:gd name="T23" fmla="*/ 154 h 1158"/>
                <a:gd name="T24" fmla="*/ 1371 w 2122"/>
                <a:gd name="T25" fmla="*/ 124 h 1158"/>
                <a:gd name="T26" fmla="*/ 1371 w 2122"/>
                <a:gd name="T27" fmla="*/ 38 h 1158"/>
                <a:gd name="T28" fmla="*/ 1371 w 2122"/>
                <a:gd name="T29" fmla="*/ 38 h 1158"/>
                <a:gd name="T30" fmla="*/ 1418 w 2122"/>
                <a:gd name="T31" fmla="*/ 15 h 1158"/>
                <a:gd name="T32" fmla="*/ 2106 w 2122"/>
                <a:gd name="T33" fmla="*/ 556 h 1158"/>
                <a:gd name="T34" fmla="*/ 2106 w 2122"/>
                <a:gd name="T35" fmla="*/ 556 h 1158"/>
                <a:gd name="T36" fmla="*/ 2106 w 2122"/>
                <a:gd name="T37" fmla="*/ 601 h 1158"/>
                <a:gd name="T38" fmla="*/ 1418 w 2122"/>
                <a:gd name="T39" fmla="*/ 1142 h 1158"/>
                <a:gd name="T40" fmla="*/ 1418 w 2122"/>
                <a:gd name="T41" fmla="*/ 1142 h 1158"/>
                <a:gd name="T42" fmla="*/ 1371 w 2122"/>
                <a:gd name="T43" fmla="*/ 1119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22" h="1158">
                  <a:moveTo>
                    <a:pt x="1371" y="1119"/>
                  </a:moveTo>
                  <a:lnTo>
                    <a:pt x="1371" y="1033"/>
                  </a:lnTo>
                  <a:lnTo>
                    <a:pt x="1371" y="1033"/>
                  </a:lnTo>
                  <a:cubicBezTo>
                    <a:pt x="1371" y="1016"/>
                    <a:pt x="1358" y="1003"/>
                    <a:pt x="1342" y="1003"/>
                  </a:cubicBezTo>
                  <a:lnTo>
                    <a:pt x="106" y="1003"/>
                  </a:lnTo>
                  <a:lnTo>
                    <a:pt x="106" y="1003"/>
                  </a:lnTo>
                  <a:cubicBezTo>
                    <a:pt x="48" y="1003"/>
                    <a:pt x="0" y="1051"/>
                    <a:pt x="0" y="1110"/>
                  </a:cubicBezTo>
                  <a:lnTo>
                    <a:pt x="0" y="260"/>
                  </a:lnTo>
                  <a:lnTo>
                    <a:pt x="0" y="260"/>
                  </a:lnTo>
                  <a:cubicBezTo>
                    <a:pt x="0" y="201"/>
                    <a:pt x="48" y="154"/>
                    <a:pt x="107" y="154"/>
                  </a:cubicBezTo>
                  <a:lnTo>
                    <a:pt x="1342" y="154"/>
                  </a:lnTo>
                  <a:lnTo>
                    <a:pt x="1342" y="154"/>
                  </a:lnTo>
                  <a:cubicBezTo>
                    <a:pt x="1358" y="154"/>
                    <a:pt x="1371" y="140"/>
                    <a:pt x="1371" y="124"/>
                  </a:cubicBezTo>
                  <a:lnTo>
                    <a:pt x="1371" y="38"/>
                  </a:lnTo>
                  <a:lnTo>
                    <a:pt x="1371" y="38"/>
                  </a:lnTo>
                  <a:cubicBezTo>
                    <a:pt x="1371" y="13"/>
                    <a:pt x="1400" y="0"/>
                    <a:pt x="1418" y="15"/>
                  </a:cubicBezTo>
                  <a:lnTo>
                    <a:pt x="2106" y="556"/>
                  </a:lnTo>
                  <a:lnTo>
                    <a:pt x="2106" y="556"/>
                  </a:lnTo>
                  <a:cubicBezTo>
                    <a:pt x="2121" y="567"/>
                    <a:pt x="2121" y="590"/>
                    <a:pt x="2106" y="601"/>
                  </a:cubicBezTo>
                  <a:lnTo>
                    <a:pt x="1418" y="1142"/>
                  </a:lnTo>
                  <a:lnTo>
                    <a:pt x="1418" y="1142"/>
                  </a:lnTo>
                  <a:cubicBezTo>
                    <a:pt x="1400" y="1157"/>
                    <a:pt x="1371" y="1143"/>
                    <a:pt x="1371" y="1119"/>
                  </a:cubicBezTo>
                </a:path>
              </a:pathLst>
            </a:custGeom>
            <a:solidFill>
              <a:srgbClr val="728EAE"/>
            </a:solidFill>
            <a:ln>
              <a:solidFill>
                <a:schemeClr val="accent4">
                  <a:lumMod val="60000"/>
                  <a:lumOff val="40000"/>
                </a:schemeClr>
              </a:solidFill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</p:grpSp>
      <p:sp>
        <p:nvSpPr>
          <p:cNvPr id="40" name="Freeform 322">
            <a:extLst>
              <a:ext uri="{FF2B5EF4-FFF2-40B4-BE49-F238E27FC236}">
                <a16:creationId xmlns:a16="http://schemas.microsoft.com/office/drawing/2014/main" id="{E8B01A7C-D08F-954C-A23C-0933C1D753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4343" y="1034142"/>
            <a:ext cx="3210686" cy="5515245"/>
          </a:xfrm>
          <a:prstGeom prst="roundRect">
            <a:avLst>
              <a:gd name="adj" fmla="val 10503"/>
            </a:avLst>
          </a:prstGeom>
          <a:noFill/>
          <a:ln w="38100" cap="flat">
            <a:solidFill>
              <a:srgbClr val="04449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+mn-cs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56ED9809-FA51-DF48-B621-FC8FFC3D061B}"/>
              </a:ext>
            </a:extLst>
          </p:cNvPr>
          <p:cNvGrpSpPr/>
          <p:nvPr/>
        </p:nvGrpSpPr>
        <p:grpSpPr>
          <a:xfrm>
            <a:off x="7999340" y="1446122"/>
            <a:ext cx="1321079" cy="758040"/>
            <a:chOff x="15995505" y="4583883"/>
            <a:chExt cx="2642157" cy="1516080"/>
          </a:xfrm>
        </p:grpSpPr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id="{B4685D47-5549-1042-AA8A-16C585F179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5505" y="5830805"/>
              <a:ext cx="390005" cy="269158"/>
            </a:xfrm>
            <a:custGeom>
              <a:avLst/>
              <a:gdLst>
                <a:gd name="T0" fmla="*/ 312 w 313"/>
                <a:gd name="T1" fmla="*/ 0 h 214"/>
                <a:gd name="T2" fmla="*/ 107 w 313"/>
                <a:gd name="T3" fmla="*/ 0 h 214"/>
                <a:gd name="T4" fmla="*/ 107 w 313"/>
                <a:gd name="T5" fmla="*/ 0 h 214"/>
                <a:gd name="T6" fmla="*/ 0 w 313"/>
                <a:gd name="T7" fmla="*/ 107 h 214"/>
                <a:gd name="T8" fmla="*/ 0 w 313"/>
                <a:gd name="T9" fmla="*/ 107 h 214"/>
                <a:gd name="T10" fmla="*/ 107 w 313"/>
                <a:gd name="T11" fmla="*/ 213 h 214"/>
                <a:gd name="T12" fmla="*/ 312 w 313"/>
                <a:gd name="T13" fmla="*/ 213 h 214"/>
                <a:gd name="T14" fmla="*/ 312 w 313"/>
                <a:gd name="T15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3" h="214">
                  <a:moveTo>
                    <a:pt x="312" y="0"/>
                  </a:moveTo>
                  <a:lnTo>
                    <a:pt x="107" y="0"/>
                  </a:lnTo>
                  <a:lnTo>
                    <a:pt x="107" y="0"/>
                  </a:lnTo>
                  <a:cubicBezTo>
                    <a:pt x="48" y="0"/>
                    <a:pt x="0" y="48"/>
                    <a:pt x="0" y="107"/>
                  </a:cubicBezTo>
                  <a:lnTo>
                    <a:pt x="0" y="107"/>
                  </a:lnTo>
                  <a:cubicBezTo>
                    <a:pt x="0" y="165"/>
                    <a:pt x="48" y="213"/>
                    <a:pt x="107" y="213"/>
                  </a:cubicBezTo>
                  <a:lnTo>
                    <a:pt x="312" y="213"/>
                  </a:lnTo>
                  <a:lnTo>
                    <a:pt x="312" y="0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94964A33-EAE5-FF48-BA84-2533AF7748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5505" y="5830805"/>
              <a:ext cx="390005" cy="269158"/>
            </a:xfrm>
            <a:custGeom>
              <a:avLst/>
              <a:gdLst>
                <a:gd name="T0" fmla="*/ 312 w 313"/>
                <a:gd name="T1" fmla="*/ 0 h 214"/>
                <a:gd name="T2" fmla="*/ 107 w 313"/>
                <a:gd name="T3" fmla="*/ 0 h 214"/>
                <a:gd name="T4" fmla="*/ 107 w 313"/>
                <a:gd name="T5" fmla="*/ 0 h 214"/>
                <a:gd name="T6" fmla="*/ 0 w 313"/>
                <a:gd name="T7" fmla="*/ 107 h 214"/>
                <a:gd name="T8" fmla="*/ 0 w 313"/>
                <a:gd name="T9" fmla="*/ 107 h 214"/>
                <a:gd name="T10" fmla="*/ 107 w 313"/>
                <a:gd name="T11" fmla="*/ 213 h 214"/>
                <a:gd name="T12" fmla="*/ 312 w 313"/>
                <a:gd name="T13" fmla="*/ 213 h 214"/>
                <a:gd name="T14" fmla="*/ 312 w 313"/>
                <a:gd name="T15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3" h="214">
                  <a:moveTo>
                    <a:pt x="312" y="0"/>
                  </a:moveTo>
                  <a:lnTo>
                    <a:pt x="107" y="0"/>
                  </a:lnTo>
                  <a:lnTo>
                    <a:pt x="107" y="0"/>
                  </a:lnTo>
                  <a:cubicBezTo>
                    <a:pt x="48" y="0"/>
                    <a:pt x="0" y="48"/>
                    <a:pt x="0" y="107"/>
                  </a:cubicBezTo>
                  <a:lnTo>
                    <a:pt x="0" y="107"/>
                  </a:lnTo>
                  <a:cubicBezTo>
                    <a:pt x="0" y="165"/>
                    <a:pt x="48" y="213"/>
                    <a:pt x="107" y="213"/>
                  </a:cubicBezTo>
                  <a:lnTo>
                    <a:pt x="312" y="213"/>
                  </a:lnTo>
                  <a:lnTo>
                    <a:pt x="312" y="0"/>
                  </a:lnTo>
                </a:path>
              </a:pathLst>
            </a:custGeom>
            <a:solidFill>
              <a:srgbClr val="121143">
                <a:alpha val="50000"/>
              </a:srgb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  <p:sp>
          <p:nvSpPr>
            <p:cNvPr id="41" name="Freeform 327">
              <a:extLst>
                <a:ext uri="{FF2B5EF4-FFF2-40B4-BE49-F238E27FC236}">
                  <a16:creationId xmlns:a16="http://schemas.microsoft.com/office/drawing/2014/main" id="{E16AB691-0D81-C64D-A93E-A0E467A2C1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95507" y="4583883"/>
              <a:ext cx="2642155" cy="1444672"/>
            </a:xfrm>
            <a:custGeom>
              <a:avLst/>
              <a:gdLst>
                <a:gd name="T0" fmla="*/ 1371 w 2122"/>
                <a:gd name="T1" fmla="*/ 1119 h 1158"/>
                <a:gd name="T2" fmla="*/ 1371 w 2122"/>
                <a:gd name="T3" fmla="*/ 1033 h 1158"/>
                <a:gd name="T4" fmla="*/ 1371 w 2122"/>
                <a:gd name="T5" fmla="*/ 1033 h 1158"/>
                <a:gd name="T6" fmla="*/ 1342 w 2122"/>
                <a:gd name="T7" fmla="*/ 1003 h 1158"/>
                <a:gd name="T8" fmla="*/ 106 w 2122"/>
                <a:gd name="T9" fmla="*/ 1003 h 1158"/>
                <a:gd name="T10" fmla="*/ 106 w 2122"/>
                <a:gd name="T11" fmla="*/ 1003 h 1158"/>
                <a:gd name="T12" fmla="*/ 0 w 2122"/>
                <a:gd name="T13" fmla="*/ 1110 h 1158"/>
                <a:gd name="T14" fmla="*/ 0 w 2122"/>
                <a:gd name="T15" fmla="*/ 260 h 1158"/>
                <a:gd name="T16" fmla="*/ 0 w 2122"/>
                <a:gd name="T17" fmla="*/ 260 h 1158"/>
                <a:gd name="T18" fmla="*/ 107 w 2122"/>
                <a:gd name="T19" fmla="*/ 154 h 1158"/>
                <a:gd name="T20" fmla="*/ 1342 w 2122"/>
                <a:gd name="T21" fmla="*/ 154 h 1158"/>
                <a:gd name="T22" fmla="*/ 1342 w 2122"/>
                <a:gd name="T23" fmla="*/ 154 h 1158"/>
                <a:gd name="T24" fmla="*/ 1371 w 2122"/>
                <a:gd name="T25" fmla="*/ 124 h 1158"/>
                <a:gd name="T26" fmla="*/ 1371 w 2122"/>
                <a:gd name="T27" fmla="*/ 38 h 1158"/>
                <a:gd name="T28" fmla="*/ 1371 w 2122"/>
                <a:gd name="T29" fmla="*/ 38 h 1158"/>
                <a:gd name="T30" fmla="*/ 1419 w 2122"/>
                <a:gd name="T31" fmla="*/ 15 h 1158"/>
                <a:gd name="T32" fmla="*/ 2106 w 2122"/>
                <a:gd name="T33" fmla="*/ 556 h 1158"/>
                <a:gd name="T34" fmla="*/ 2106 w 2122"/>
                <a:gd name="T35" fmla="*/ 556 h 1158"/>
                <a:gd name="T36" fmla="*/ 2106 w 2122"/>
                <a:gd name="T37" fmla="*/ 601 h 1158"/>
                <a:gd name="T38" fmla="*/ 1419 w 2122"/>
                <a:gd name="T39" fmla="*/ 1142 h 1158"/>
                <a:gd name="T40" fmla="*/ 1419 w 2122"/>
                <a:gd name="T41" fmla="*/ 1142 h 1158"/>
                <a:gd name="T42" fmla="*/ 1371 w 2122"/>
                <a:gd name="T43" fmla="*/ 1119 h 1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22" h="1158">
                  <a:moveTo>
                    <a:pt x="1371" y="1119"/>
                  </a:moveTo>
                  <a:lnTo>
                    <a:pt x="1371" y="1033"/>
                  </a:lnTo>
                  <a:lnTo>
                    <a:pt x="1371" y="1033"/>
                  </a:lnTo>
                  <a:cubicBezTo>
                    <a:pt x="1371" y="1016"/>
                    <a:pt x="1358" y="1003"/>
                    <a:pt x="1342" y="1003"/>
                  </a:cubicBezTo>
                  <a:lnTo>
                    <a:pt x="106" y="1003"/>
                  </a:lnTo>
                  <a:lnTo>
                    <a:pt x="106" y="1003"/>
                  </a:lnTo>
                  <a:cubicBezTo>
                    <a:pt x="48" y="1003"/>
                    <a:pt x="0" y="1051"/>
                    <a:pt x="0" y="1110"/>
                  </a:cubicBezTo>
                  <a:lnTo>
                    <a:pt x="0" y="260"/>
                  </a:lnTo>
                  <a:lnTo>
                    <a:pt x="0" y="260"/>
                  </a:lnTo>
                  <a:cubicBezTo>
                    <a:pt x="0" y="201"/>
                    <a:pt x="48" y="154"/>
                    <a:pt x="107" y="154"/>
                  </a:cubicBezTo>
                  <a:lnTo>
                    <a:pt x="1342" y="154"/>
                  </a:lnTo>
                  <a:lnTo>
                    <a:pt x="1342" y="154"/>
                  </a:lnTo>
                  <a:cubicBezTo>
                    <a:pt x="1358" y="154"/>
                    <a:pt x="1371" y="140"/>
                    <a:pt x="1371" y="124"/>
                  </a:cubicBezTo>
                  <a:lnTo>
                    <a:pt x="1371" y="38"/>
                  </a:lnTo>
                  <a:lnTo>
                    <a:pt x="1371" y="38"/>
                  </a:lnTo>
                  <a:cubicBezTo>
                    <a:pt x="1371" y="13"/>
                    <a:pt x="1399" y="0"/>
                    <a:pt x="1419" y="15"/>
                  </a:cubicBezTo>
                  <a:lnTo>
                    <a:pt x="2106" y="556"/>
                  </a:lnTo>
                  <a:lnTo>
                    <a:pt x="2106" y="556"/>
                  </a:lnTo>
                  <a:cubicBezTo>
                    <a:pt x="2121" y="567"/>
                    <a:pt x="2121" y="590"/>
                    <a:pt x="2106" y="601"/>
                  </a:cubicBezTo>
                  <a:lnTo>
                    <a:pt x="1419" y="1142"/>
                  </a:lnTo>
                  <a:lnTo>
                    <a:pt x="1419" y="1142"/>
                  </a:lnTo>
                  <a:cubicBezTo>
                    <a:pt x="1399" y="1157"/>
                    <a:pt x="1371" y="1143"/>
                    <a:pt x="1371" y="1119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28F6208F-5955-9341-8063-E71238D45DD6}"/>
              </a:ext>
            </a:extLst>
          </p:cNvPr>
          <p:cNvSpPr txBox="1"/>
          <p:nvPr/>
        </p:nvSpPr>
        <p:spPr>
          <a:xfrm>
            <a:off x="2191966" y="1634670"/>
            <a:ext cx="1729868" cy="35394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-15" normalizeH="0" baseline="0" noProof="0" dirty="0">
                <a:ln>
                  <a:noFill/>
                </a:ln>
                <a:solidFill>
                  <a:srgbClr val="055BCB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DAY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F7D4B4-F7EA-F641-91ED-FFDA36009DD4}"/>
              </a:ext>
            </a:extLst>
          </p:cNvPr>
          <p:cNvSpPr txBox="1"/>
          <p:nvPr/>
        </p:nvSpPr>
        <p:spPr>
          <a:xfrm>
            <a:off x="974354" y="1495373"/>
            <a:ext cx="804689" cy="661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700" b="1" i="0" u="none" strike="noStrike" kern="1200" cap="none" spc="-1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3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C02B52E-D9A6-A849-B7BD-74E6BF1B7125}"/>
              </a:ext>
            </a:extLst>
          </p:cNvPr>
          <p:cNvSpPr txBox="1"/>
          <p:nvPr/>
        </p:nvSpPr>
        <p:spPr>
          <a:xfrm>
            <a:off x="1217088" y="2607925"/>
            <a:ext cx="2682135" cy="146270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0" marR="0" lvl="0" indent="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1D48969-04E2-6E48-BD72-E5F1CE82CE15}"/>
              </a:ext>
            </a:extLst>
          </p:cNvPr>
          <p:cNvSpPr txBox="1"/>
          <p:nvPr/>
        </p:nvSpPr>
        <p:spPr>
          <a:xfrm>
            <a:off x="5796064" y="1634670"/>
            <a:ext cx="1729868" cy="35394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-15" normalizeH="0" baseline="0" noProof="0" dirty="0">
                <a:ln>
                  <a:noFill/>
                </a:ln>
                <a:solidFill>
                  <a:srgbClr val="728EAE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DAY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740FED9-3216-614B-8975-FC666CBE56D2}"/>
              </a:ext>
            </a:extLst>
          </p:cNvPr>
          <p:cNvSpPr txBox="1"/>
          <p:nvPr/>
        </p:nvSpPr>
        <p:spPr>
          <a:xfrm>
            <a:off x="4578451" y="1495373"/>
            <a:ext cx="804689" cy="661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700" b="1" i="0" u="none" strike="noStrike" kern="1200" cap="none" spc="-1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60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421223F-4B1C-004D-A9E1-90F5E0BDF4E9}"/>
              </a:ext>
            </a:extLst>
          </p:cNvPr>
          <p:cNvSpPr txBox="1"/>
          <p:nvPr/>
        </p:nvSpPr>
        <p:spPr>
          <a:xfrm>
            <a:off x="9397784" y="1634670"/>
            <a:ext cx="1729868" cy="35394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-15" normalizeH="0" baseline="0" noProof="0" dirty="0">
                <a:ln>
                  <a:noFill/>
                </a:ln>
                <a:solidFill>
                  <a:srgbClr val="044498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DAY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B7018B-9C96-F447-BF3F-38ACEB454B56}"/>
              </a:ext>
            </a:extLst>
          </p:cNvPr>
          <p:cNvSpPr txBox="1"/>
          <p:nvPr/>
        </p:nvSpPr>
        <p:spPr>
          <a:xfrm>
            <a:off x="8180171" y="1495373"/>
            <a:ext cx="804689" cy="6617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700" b="1" i="0" u="none" strike="noStrike" kern="1200" cap="none" spc="-1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9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F05DA9-A06F-B8D4-69D2-42877BDB78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5159" y="0"/>
            <a:ext cx="5196045" cy="765544"/>
          </a:xfrm>
        </p:spPr>
        <p:txBody>
          <a:bodyPr vert="horz"/>
          <a:lstStyle/>
          <a:p>
            <a:r>
              <a:rPr lang="en-US" dirty="0"/>
              <a:t>My 90 Days Plan @DC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D2F9752-9BEF-6424-689A-796F5DBA8246}"/>
              </a:ext>
            </a:extLst>
          </p:cNvPr>
          <p:cNvSpPr txBox="1"/>
          <p:nvPr/>
        </p:nvSpPr>
        <p:spPr>
          <a:xfrm>
            <a:off x="1246250" y="4912985"/>
            <a:ext cx="2682135" cy="146270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0" marR="0" lvl="0" indent="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7FD955-D926-7F11-14B1-E29785CF5774}"/>
              </a:ext>
            </a:extLst>
          </p:cNvPr>
          <p:cNvSpPr txBox="1"/>
          <p:nvPr/>
        </p:nvSpPr>
        <p:spPr>
          <a:xfrm>
            <a:off x="1246251" y="2264653"/>
            <a:ext cx="2682134" cy="30777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PT Book"/>
                <a:ea typeface="+mn-ea"/>
                <a:cs typeface="+mn-cs"/>
              </a:rPr>
              <a:t>Plan of Ac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0060330-533B-34D9-027E-C3AF0AB41780}"/>
              </a:ext>
            </a:extLst>
          </p:cNvPr>
          <p:cNvSpPr txBox="1"/>
          <p:nvPr/>
        </p:nvSpPr>
        <p:spPr>
          <a:xfrm>
            <a:off x="1239700" y="4462475"/>
            <a:ext cx="2682134" cy="30777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PT Book"/>
                <a:ea typeface="+mn-ea"/>
                <a:cs typeface="+mn-cs"/>
              </a:rPr>
              <a:t>Challenges/Support neede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A238EB-18C7-6D1C-08E1-09C229D07D44}"/>
              </a:ext>
            </a:extLst>
          </p:cNvPr>
          <p:cNvSpPr txBox="1"/>
          <p:nvPr/>
        </p:nvSpPr>
        <p:spPr>
          <a:xfrm>
            <a:off x="4837852" y="2600484"/>
            <a:ext cx="2682135" cy="146270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0" marR="0" lvl="0" indent="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B5B8785-2522-6979-D7DD-C5ECC73F47D2}"/>
              </a:ext>
            </a:extLst>
          </p:cNvPr>
          <p:cNvSpPr txBox="1"/>
          <p:nvPr/>
        </p:nvSpPr>
        <p:spPr>
          <a:xfrm>
            <a:off x="4867014" y="4905544"/>
            <a:ext cx="2682135" cy="146270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0" marR="0" lvl="0" indent="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BD4CD21-32EB-CE85-0ADA-FBEECC347015}"/>
              </a:ext>
            </a:extLst>
          </p:cNvPr>
          <p:cNvSpPr txBox="1"/>
          <p:nvPr/>
        </p:nvSpPr>
        <p:spPr>
          <a:xfrm>
            <a:off x="4867015" y="2257212"/>
            <a:ext cx="2682134" cy="30777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PT Book"/>
                <a:ea typeface="+mn-ea"/>
                <a:cs typeface="+mn-cs"/>
              </a:rPr>
              <a:t>Plan of Action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B683735-6101-47AD-DA6B-36030B6F64C1}"/>
              </a:ext>
            </a:extLst>
          </p:cNvPr>
          <p:cNvSpPr txBox="1"/>
          <p:nvPr/>
        </p:nvSpPr>
        <p:spPr>
          <a:xfrm>
            <a:off x="4860464" y="4455034"/>
            <a:ext cx="2682134" cy="30777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PT Book"/>
                <a:ea typeface="+mn-ea"/>
                <a:cs typeface="+mn-cs"/>
              </a:rPr>
              <a:t>Challenges/Support neede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AF740C9-F76D-234D-5432-59A34DAFD242}"/>
              </a:ext>
            </a:extLst>
          </p:cNvPr>
          <p:cNvSpPr txBox="1"/>
          <p:nvPr/>
        </p:nvSpPr>
        <p:spPr>
          <a:xfrm>
            <a:off x="8425420" y="2589141"/>
            <a:ext cx="2682135" cy="146270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0" marR="0" lvl="0" indent="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9116314-C06F-C49E-D6E3-6475B0F73E6E}"/>
              </a:ext>
            </a:extLst>
          </p:cNvPr>
          <p:cNvSpPr txBox="1"/>
          <p:nvPr/>
        </p:nvSpPr>
        <p:spPr>
          <a:xfrm>
            <a:off x="8454582" y="4894201"/>
            <a:ext cx="2682135" cy="146270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228600" marR="0" lvl="0" indent="-22860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-10" normalizeH="0" baseline="0" noProof="0" dirty="0" err="1">
                <a:ln>
                  <a:noFill/>
                </a:ln>
                <a:solidFill>
                  <a:srgbClr val="747994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Abc</a:t>
            </a: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  <a:p>
            <a:pPr marL="0" marR="0" lvl="0" indent="0" algn="l" defTabSz="91421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-10" normalizeH="0" baseline="0" noProof="0" dirty="0">
              <a:ln>
                <a:noFill/>
              </a:ln>
              <a:solidFill>
                <a:srgbClr val="747994"/>
              </a:solidFill>
              <a:effectLst/>
              <a:uLnTx/>
              <a:uFillTx/>
              <a:latin typeface="Poppins" pitchFamily="2" charset="77"/>
              <a:ea typeface="+mn-ea"/>
              <a:cs typeface="Poppins" pitchFamily="2" charset="77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90CE995-CD74-0C8C-F5D6-81B20FAFA182}"/>
              </a:ext>
            </a:extLst>
          </p:cNvPr>
          <p:cNvSpPr txBox="1"/>
          <p:nvPr/>
        </p:nvSpPr>
        <p:spPr>
          <a:xfrm>
            <a:off x="8454583" y="2245869"/>
            <a:ext cx="2682134" cy="30777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PT Book"/>
                <a:ea typeface="+mn-ea"/>
                <a:cs typeface="+mn-cs"/>
              </a:rPr>
              <a:t>Plan of Action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71A783E-EC03-D3BA-DE9F-7E01F99B5DEA}"/>
              </a:ext>
            </a:extLst>
          </p:cNvPr>
          <p:cNvSpPr txBox="1"/>
          <p:nvPr/>
        </p:nvSpPr>
        <p:spPr>
          <a:xfrm>
            <a:off x="8448032" y="4443691"/>
            <a:ext cx="2682134" cy="30777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PT Book"/>
                <a:ea typeface="+mn-ea"/>
                <a:cs typeface="+mn-cs"/>
              </a:rPr>
              <a:t>Challenges/Support needed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E68778B-1F35-DC2D-A36E-CF4174658CE3}"/>
              </a:ext>
            </a:extLst>
          </p:cNvPr>
          <p:cNvSpPr txBox="1"/>
          <p:nvPr/>
        </p:nvSpPr>
        <p:spPr>
          <a:xfrm>
            <a:off x="1307348" y="1077366"/>
            <a:ext cx="2559939" cy="3699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15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ACCLIMITIZATION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14399F9-9B44-EB67-0D2D-C5C3B242DF33}"/>
              </a:ext>
            </a:extLst>
          </p:cNvPr>
          <p:cNvSpPr txBox="1"/>
          <p:nvPr/>
        </p:nvSpPr>
        <p:spPr>
          <a:xfrm>
            <a:off x="4898949" y="1068840"/>
            <a:ext cx="2559939" cy="3699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15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START DELIVERING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D52BE26-262C-0392-F1BC-8AA74CF2C02E}"/>
              </a:ext>
            </a:extLst>
          </p:cNvPr>
          <p:cNvSpPr txBox="1"/>
          <p:nvPr/>
        </p:nvSpPr>
        <p:spPr>
          <a:xfrm>
            <a:off x="8582515" y="1074690"/>
            <a:ext cx="2559939" cy="3699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217" rtl="0" eaLnBrk="1" fontAlgn="auto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-15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M Sans" pitchFamily="2" charset="77"/>
                <a:ea typeface="+mn-ea"/>
                <a:cs typeface="+mn-cs"/>
              </a:rPr>
              <a:t>ALIGNMENT </a:t>
            </a: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FAEC9A9F-0E03-05F3-C2F9-9028663FDF93}"/>
              </a:ext>
            </a:extLst>
          </p:cNvPr>
          <p:cNvSpPr/>
          <p:nvPr/>
        </p:nvSpPr>
        <p:spPr>
          <a:xfrm>
            <a:off x="-1" y="0"/>
            <a:ext cx="3842951" cy="903670"/>
          </a:xfrm>
          <a:custGeom>
            <a:avLst/>
            <a:gdLst>
              <a:gd name="connsiteX0" fmla="*/ 0 w 11735951"/>
              <a:gd name="connsiteY0" fmla="*/ 0 h 5603621"/>
              <a:gd name="connsiteX1" fmla="*/ 11735951 w 11735951"/>
              <a:gd name="connsiteY1" fmla="*/ 0 h 5603621"/>
              <a:gd name="connsiteX2" fmla="*/ 9104159 w 11735951"/>
              <a:gd name="connsiteY2" fmla="*/ 4555538 h 5603621"/>
              <a:gd name="connsiteX3" fmla="*/ 7313151 w 11735951"/>
              <a:gd name="connsiteY3" fmla="*/ 5603621 h 5603621"/>
              <a:gd name="connsiteX4" fmla="*/ 0 w 11735951"/>
              <a:gd name="connsiteY4" fmla="*/ 5603621 h 5603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735951" h="5603621">
                <a:moveTo>
                  <a:pt x="0" y="0"/>
                </a:moveTo>
                <a:lnTo>
                  <a:pt x="11735951" y="0"/>
                </a:lnTo>
                <a:lnTo>
                  <a:pt x="9104159" y="4555538"/>
                </a:lnTo>
                <a:cubicBezTo>
                  <a:pt x="8727640" y="5196599"/>
                  <a:pt x="8045836" y="5603621"/>
                  <a:pt x="7313151" y="5603621"/>
                </a:cubicBezTo>
                <a:lnTo>
                  <a:pt x="0" y="5603621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cap="flat">
            <a:noFill/>
            <a:prstDash val="solid"/>
          </a:ln>
        </p:spPr>
        <p:txBody>
          <a:bodyPr vert="horz" wrap="square" lIns="90000" tIns="45000" rIns="90000" bIns="45000" anchor="ctr" anchorCtr="1" compatLnSpc="0">
            <a:no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Futura PT Book"/>
                <a:ea typeface="+mn-ea"/>
                <a:cs typeface="+mn-cs"/>
              </a:rPr>
              <a:t>Sample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Futura PT Book"/>
                <a:ea typeface="+mn-ea"/>
                <a:cs typeface="+mn-cs"/>
              </a:rPr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625264275"/>
      </p:ext>
    </p:extLst>
  </p:cSld>
  <p:clrMapOvr>
    <a:masterClrMapping/>
  </p:clrMapOvr>
  <p:transition spd="slow">
    <p:strips dir="l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Ws.60oQq7qM.WCIkas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9_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55BCB"/>
      </a:accent1>
      <a:accent2>
        <a:srgbClr val="34F4C5"/>
      </a:accent2>
      <a:accent3>
        <a:srgbClr val="60CAF8"/>
      </a:accent3>
      <a:accent4>
        <a:srgbClr val="334559"/>
      </a:accent4>
      <a:accent5>
        <a:srgbClr val="79F2C8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3">
      <a:majorFont>
        <a:latin typeface="Futura PT Bold"/>
        <a:ea typeface=""/>
        <a:cs typeface=""/>
      </a:majorFont>
      <a:minorFont>
        <a:latin typeface="Futura PT Book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69</Words>
  <Application>Microsoft Office PowerPoint</Application>
  <PresentationFormat>Widescreen</PresentationFormat>
  <Paragraphs>4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DM Sans</vt:lpstr>
      <vt:lpstr>Futura PT Bold</vt:lpstr>
      <vt:lpstr>Futura PT Book</vt:lpstr>
      <vt:lpstr>Poppins</vt:lpstr>
      <vt:lpstr>9_Office Theme</vt:lpstr>
      <vt:lpstr>think-cell Slide</vt:lpstr>
      <vt:lpstr>My 90 Days Plan @DC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onisha Kumar Gumber</dc:creator>
  <cp:lastModifiedBy>Monisha Kumar Gumber</cp:lastModifiedBy>
  <cp:revision>1</cp:revision>
  <dcterms:created xsi:type="dcterms:W3CDTF">2024-11-03T09:39:58Z</dcterms:created>
  <dcterms:modified xsi:type="dcterms:W3CDTF">2024-11-03T09:42:05Z</dcterms:modified>
</cp:coreProperties>
</file>